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  <p:sldMasterId id="2147483660" r:id="rId4"/>
  </p:sldMasterIdLst>
  <p:notesMasterIdLst>
    <p:notesMasterId r:id="rId8"/>
  </p:notesMasterIdLst>
  <p:sldIdLst>
    <p:sldId id="7371" r:id="rId5"/>
    <p:sldId id="7374" r:id="rId6"/>
    <p:sldId id="7373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4040"/>
    <a:srgbClr val="FFFFFF"/>
    <a:srgbClr val="FF0000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06" autoAdjust="0"/>
    <p:restoredTop sz="94655" autoAdjust="0"/>
  </p:normalViewPr>
  <p:slideViewPr>
    <p:cSldViewPr snapToGrid="0">
      <p:cViewPr varScale="1">
        <p:scale>
          <a:sx n="63" d="100"/>
          <a:sy n="63" d="100"/>
        </p:scale>
        <p:origin x="972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2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904F61-3239-4BF8-8F8C-ECDB7C5C7E3A}" type="datetimeFigureOut">
              <a:rPr lang="en-US" smtClean="0"/>
              <a:t>11/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BFCE9A-A92D-4C88-9BA9-165D4F0A56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8715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image" Target="../media/image8.emf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oleObject" Target="../embeddings/oleObject5.bin"/><Relationship Id="rId5" Type="http://schemas.openxmlformats.org/officeDocument/2006/relationships/tags" Target="../tags/tag4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43.xml"/><Relationship Id="rId9" Type="http://schemas.openxmlformats.org/officeDocument/2006/relationships/tags" Target="../tags/tag4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10" Type="http://schemas.openxmlformats.org/officeDocument/2006/relationships/image" Target="../media/image9.emf"/><Relationship Id="rId4" Type="http://schemas.openxmlformats.org/officeDocument/2006/relationships/tags" Target="../tags/tag52.xml"/><Relationship Id="rId9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2DA3E8-80E9-4717-BE55-194145281D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3E6D4CE-9C7D-4B03-9379-761CD011C1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3FB66F-EF96-4D17-BB2F-DD5FDAB0EC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2DD-4208-421D-B44D-017DD2175EC8}" type="datetimeFigureOut">
              <a:rPr lang="en-US" smtClean="0"/>
              <a:t>11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277DA4-4041-437E-B578-2CC57D558B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CEB56F-A2F4-445E-A285-B5EFBFBF5F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8B901-C45F-40EA-81E2-99985EE23F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7924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42C72C-B97A-41F1-9948-542631FAD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2C1D027-E476-4912-AEA1-3999B7D95A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C71783-35CB-4FB6-82DB-B9EB38DB1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2DD-4208-421D-B44D-017DD2175EC8}" type="datetimeFigureOut">
              <a:rPr lang="en-US" smtClean="0"/>
              <a:t>11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ED63B2-615D-4733-849E-5135489DDF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8522B2-1F40-43B0-A1F8-9F1E8F8AE1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8B901-C45F-40EA-81E2-99985EE23F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267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A5EEC90-81A8-4DFA-B290-99F23604F9E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74D7EF9-4E8C-4F76-810A-5E53DC47D29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C8355C-D901-4E94-9A04-1C1FC84F05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2DD-4208-421D-B44D-017DD2175EC8}" type="datetimeFigureOut">
              <a:rPr lang="en-US" smtClean="0"/>
              <a:t>11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EC9909-1C9C-4B59-B7D4-AE55BE746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B6FA97-F4E0-4AA9-AAFE-72CCC6A524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8B901-C45F-40EA-81E2-99985EE23F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0717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4035759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27D9A6-27B1-4BCF-A6F2-46AC45BF2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BC49947-4180-447E-91F1-00D44B23F7E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0" y="0"/>
            <a:ext cx="10309809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8B33CE6-4B3E-4833-A06B-492A83126A0D}"/>
              </a:ext>
            </a:extLst>
          </p:cNvPr>
          <p:cNvSpPr/>
          <p:nvPr userDrawn="1"/>
        </p:nvSpPr>
        <p:spPr bwMode="ltGray">
          <a:xfrm flipH="1">
            <a:off x="0" y="0"/>
            <a:ext cx="10329368" cy="688054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76000">
                <a:schemeClr val="bg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5" descr="Home">
            <a:extLst>
              <a:ext uri="{FF2B5EF4-FFF2-40B4-BE49-F238E27FC236}">
                <a16:creationId xmlns:a16="http://schemas.microsoft.com/office/drawing/2014/main" id="{FC97FBBC-40C8-48D6-9871-82153481E4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89975" y="62951"/>
            <a:ext cx="960061" cy="420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E5A8817-8013-46D1-9C76-775C59BD0964}"/>
              </a:ext>
            </a:extLst>
          </p:cNvPr>
          <p:cNvGrpSpPr/>
          <p:nvPr userDrawn="1"/>
        </p:nvGrpSpPr>
        <p:grpSpPr>
          <a:xfrm>
            <a:off x="5438878" y="0"/>
            <a:ext cx="7169810" cy="6867524"/>
            <a:chOff x="5022190" y="0"/>
            <a:chExt cx="7169810" cy="6867524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6D2A0A6-CAA9-49BF-B0CB-5B412496A67C}"/>
                </a:ext>
              </a:extLst>
            </p:cNvPr>
            <p:cNvSpPr/>
            <p:nvPr userDrawn="1"/>
          </p:nvSpPr>
          <p:spPr bwMode="ltGray">
            <a:xfrm>
              <a:off x="5022190" y="0"/>
              <a:ext cx="7169810" cy="6867524"/>
            </a:xfrm>
            <a:custGeom>
              <a:avLst/>
              <a:gdLst>
                <a:gd name="connsiteX0" fmla="*/ 4912384 w 7169810"/>
                <a:gd name="connsiteY0" fmla="*/ 0 h 6867524"/>
                <a:gd name="connsiteX1" fmla="*/ 7169810 w 7169810"/>
                <a:gd name="connsiteY1" fmla="*/ 9524 h 6867524"/>
                <a:gd name="connsiteX2" fmla="*/ 7169810 w 7169810"/>
                <a:gd name="connsiteY2" fmla="*/ 6867524 h 6867524"/>
                <a:gd name="connsiteX3" fmla="*/ 0 w 7169810"/>
                <a:gd name="connsiteY3" fmla="*/ 6867524 h 6867524"/>
                <a:gd name="connsiteX4" fmla="*/ 49565 w 7169810"/>
                <a:gd name="connsiteY4" fmla="*/ 6855366 h 6867524"/>
                <a:gd name="connsiteX5" fmla="*/ 4912384 w 7169810"/>
                <a:gd name="connsiteY5" fmla="*/ 0 h 6867524"/>
                <a:gd name="connsiteX0" fmla="*/ 4912384 w 7169810"/>
                <a:gd name="connsiteY0" fmla="*/ 0 h 6867524"/>
                <a:gd name="connsiteX1" fmla="*/ 7169810 w 7169810"/>
                <a:gd name="connsiteY1" fmla="*/ 9524 h 6867524"/>
                <a:gd name="connsiteX2" fmla="*/ 7169810 w 7169810"/>
                <a:gd name="connsiteY2" fmla="*/ 6867524 h 6867524"/>
                <a:gd name="connsiteX3" fmla="*/ 0 w 7169810"/>
                <a:gd name="connsiteY3" fmla="*/ 6867524 h 6867524"/>
                <a:gd name="connsiteX4" fmla="*/ 49565 w 7169810"/>
                <a:gd name="connsiteY4" fmla="*/ 6855366 h 6867524"/>
                <a:gd name="connsiteX5" fmla="*/ 4912384 w 7169810"/>
                <a:gd name="connsiteY5" fmla="*/ 0 h 6867524"/>
                <a:gd name="connsiteX0" fmla="*/ 4912384 w 7169810"/>
                <a:gd name="connsiteY0" fmla="*/ 0 h 6867524"/>
                <a:gd name="connsiteX1" fmla="*/ 7169810 w 7169810"/>
                <a:gd name="connsiteY1" fmla="*/ 9524 h 6867524"/>
                <a:gd name="connsiteX2" fmla="*/ 7169810 w 7169810"/>
                <a:gd name="connsiteY2" fmla="*/ 6867524 h 6867524"/>
                <a:gd name="connsiteX3" fmla="*/ 0 w 7169810"/>
                <a:gd name="connsiteY3" fmla="*/ 6867524 h 6867524"/>
                <a:gd name="connsiteX4" fmla="*/ 49565 w 7169810"/>
                <a:gd name="connsiteY4" fmla="*/ 6855366 h 6867524"/>
                <a:gd name="connsiteX5" fmla="*/ 4912384 w 7169810"/>
                <a:gd name="connsiteY5" fmla="*/ 0 h 6867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69810" h="6867524">
                  <a:moveTo>
                    <a:pt x="4912384" y="0"/>
                  </a:moveTo>
                  <a:lnTo>
                    <a:pt x="7169810" y="9524"/>
                  </a:lnTo>
                  <a:lnTo>
                    <a:pt x="7169810" y="6867524"/>
                  </a:lnTo>
                  <a:lnTo>
                    <a:pt x="0" y="6867524"/>
                  </a:lnTo>
                  <a:lnTo>
                    <a:pt x="49565" y="6855366"/>
                  </a:lnTo>
                  <a:cubicBezTo>
                    <a:pt x="2418326" y="6341978"/>
                    <a:pt x="5834473" y="3399535"/>
                    <a:pt x="4912384" y="0"/>
                  </a:cubicBezTo>
                  <a:close/>
                </a:path>
              </a:pathLst>
            </a:custGeom>
            <a:blipFill>
              <a:blip r:embed="rId8" cstate="email">
                <a:duotone>
                  <a:prstClr val="black"/>
                  <a:srgbClr val="D9C3A5">
                    <a:tint val="50000"/>
                    <a:satMod val="18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t="1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E2EBC6DB-A11A-43FB-AAFF-2977237B6168}"/>
                </a:ext>
              </a:extLst>
            </p:cNvPr>
            <p:cNvSpPr/>
            <p:nvPr userDrawn="1"/>
          </p:nvSpPr>
          <p:spPr bwMode="ltGray">
            <a:xfrm>
              <a:off x="5022190" y="0"/>
              <a:ext cx="7169810" cy="6867524"/>
            </a:xfrm>
            <a:custGeom>
              <a:avLst/>
              <a:gdLst>
                <a:gd name="connsiteX0" fmla="*/ 4912384 w 7169810"/>
                <a:gd name="connsiteY0" fmla="*/ 0 h 6867524"/>
                <a:gd name="connsiteX1" fmla="*/ 7169810 w 7169810"/>
                <a:gd name="connsiteY1" fmla="*/ 9524 h 6867524"/>
                <a:gd name="connsiteX2" fmla="*/ 7169810 w 7169810"/>
                <a:gd name="connsiteY2" fmla="*/ 6867524 h 6867524"/>
                <a:gd name="connsiteX3" fmla="*/ 0 w 7169810"/>
                <a:gd name="connsiteY3" fmla="*/ 6867524 h 6867524"/>
                <a:gd name="connsiteX4" fmla="*/ 49565 w 7169810"/>
                <a:gd name="connsiteY4" fmla="*/ 6855366 h 6867524"/>
                <a:gd name="connsiteX5" fmla="*/ 4912384 w 7169810"/>
                <a:gd name="connsiteY5" fmla="*/ 0 h 6867524"/>
                <a:gd name="connsiteX0" fmla="*/ 4912384 w 7169810"/>
                <a:gd name="connsiteY0" fmla="*/ 0 h 6867524"/>
                <a:gd name="connsiteX1" fmla="*/ 7169810 w 7169810"/>
                <a:gd name="connsiteY1" fmla="*/ 9524 h 6867524"/>
                <a:gd name="connsiteX2" fmla="*/ 7169810 w 7169810"/>
                <a:gd name="connsiteY2" fmla="*/ 6867524 h 6867524"/>
                <a:gd name="connsiteX3" fmla="*/ 0 w 7169810"/>
                <a:gd name="connsiteY3" fmla="*/ 6867524 h 6867524"/>
                <a:gd name="connsiteX4" fmla="*/ 49565 w 7169810"/>
                <a:gd name="connsiteY4" fmla="*/ 6855366 h 6867524"/>
                <a:gd name="connsiteX5" fmla="*/ 4912384 w 7169810"/>
                <a:gd name="connsiteY5" fmla="*/ 0 h 6867524"/>
                <a:gd name="connsiteX0" fmla="*/ 4912384 w 7169810"/>
                <a:gd name="connsiteY0" fmla="*/ 0 h 6867524"/>
                <a:gd name="connsiteX1" fmla="*/ 7169810 w 7169810"/>
                <a:gd name="connsiteY1" fmla="*/ 9524 h 6867524"/>
                <a:gd name="connsiteX2" fmla="*/ 7169810 w 7169810"/>
                <a:gd name="connsiteY2" fmla="*/ 6867524 h 6867524"/>
                <a:gd name="connsiteX3" fmla="*/ 0 w 7169810"/>
                <a:gd name="connsiteY3" fmla="*/ 6867524 h 6867524"/>
                <a:gd name="connsiteX4" fmla="*/ 49565 w 7169810"/>
                <a:gd name="connsiteY4" fmla="*/ 6855366 h 6867524"/>
                <a:gd name="connsiteX5" fmla="*/ 4912384 w 7169810"/>
                <a:gd name="connsiteY5" fmla="*/ 0 h 6867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69810" h="6867524">
                  <a:moveTo>
                    <a:pt x="4912384" y="0"/>
                  </a:moveTo>
                  <a:lnTo>
                    <a:pt x="7169810" y="9524"/>
                  </a:lnTo>
                  <a:lnTo>
                    <a:pt x="7169810" y="6867524"/>
                  </a:lnTo>
                  <a:lnTo>
                    <a:pt x="0" y="6867524"/>
                  </a:lnTo>
                  <a:lnTo>
                    <a:pt x="49565" y="6855366"/>
                  </a:lnTo>
                  <a:cubicBezTo>
                    <a:pt x="2418326" y="6341978"/>
                    <a:pt x="5834473" y="3399535"/>
                    <a:pt x="4912384" y="0"/>
                  </a:cubicBezTo>
                  <a:close/>
                </a:path>
              </a:pathLst>
            </a:custGeom>
            <a:solidFill>
              <a:srgbClr val="ED1C24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CC9C90A7-AE2F-48F4-B986-EA32272BEA36}"/>
              </a:ext>
            </a:extLst>
          </p:cNvPr>
          <p:cNvSpPr/>
          <p:nvPr userDrawn="1"/>
        </p:nvSpPr>
        <p:spPr>
          <a:xfrm>
            <a:off x="0" y="2690759"/>
            <a:ext cx="9064752" cy="1476482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FFFFFF">
                  <a:alpha val="0"/>
                </a:srgb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232220" y="2727434"/>
            <a:ext cx="6550624" cy="369332"/>
          </a:xfrm>
          <a:prstGeom prst="rect">
            <a:avLst/>
          </a:prstGeom>
        </p:spPr>
        <p:txBody>
          <a:bodyPr/>
          <a:lstStyle>
            <a:lvl1pPr>
              <a:defRPr lang="x-none" sz="2400" b="1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32220" y="3380959"/>
            <a:ext cx="6550624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b="1" cap="none" baseline="0">
                <a:solidFill>
                  <a:schemeClr val="tx2"/>
                </a:solidFill>
                <a:latin typeface="+mj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32220" y="3880596"/>
            <a:ext cx="655062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1400" baseline="0" noProof="0" dirty="0">
                <a:solidFill>
                  <a:schemeClr val="tx2"/>
                </a:solidFill>
                <a:latin typeface="+mj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8283007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92968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18E942C-C154-498D-9D7E-997F11FDF4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987" y="151046"/>
            <a:ext cx="10765423" cy="30777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B221107-2E1E-41F5-BA77-1C2028A4CB3A}"/>
              </a:ext>
            </a:extLst>
          </p:cNvPr>
          <p:cNvSpPr/>
          <p:nvPr userDrawn="1"/>
        </p:nvSpPr>
        <p:spPr>
          <a:xfrm>
            <a:off x="56143" y="0"/>
            <a:ext cx="69118" cy="72651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9532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DED6A9B-C760-4C8A-A499-EE755A42C76B}"/>
              </a:ext>
            </a:extLst>
          </p:cNvPr>
          <p:cNvSpPr/>
          <p:nvPr userDrawn="1"/>
        </p:nvSpPr>
        <p:spPr>
          <a:xfrm>
            <a:off x="56143" y="0"/>
            <a:ext cx="69118" cy="72651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4581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BAE1C9-E2FA-421D-9399-CC6750FAAC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4504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51" imgH="450" progId="TCLayout.ActiveDocument.1">
                  <p:embed/>
                </p:oleObj>
              </mc:Choice>
              <mc:Fallback>
                <p:oleObj name="think-cell Slide" r:id="rId11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BAE1C9-E2FA-421D-9399-CC6750FAAC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6514990-7DEF-4E8B-B1BA-F9E18066A72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161987" y="151046"/>
            <a:ext cx="11082528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LTCover">
            <a:extLst>
              <a:ext uri="{FF2B5EF4-FFF2-40B4-BE49-F238E27FC236}">
                <a16:creationId xmlns:a16="http://schemas.microsoft.com/office/drawing/2014/main" id="{00D3C8B3-3B7F-4D62-9C29-BC1BEEA4EE63}"/>
              </a:ext>
            </a:extLst>
          </p:cNvPr>
          <p:cNvSpPr>
            <a:spLocks/>
          </p:cNvSpPr>
          <p:nvPr userDrawn="1"/>
        </p:nvSpPr>
        <p:spPr bwMode="gray">
          <a:xfrm>
            <a:off x="0" y="808668"/>
            <a:ext cx="12185353" cy="615950"/>
          </a:xfrm>
          <a:prstGeom prst="rect">
            <a:avLst/>
          </a:prstGeom>
          <a:gradFill>
            <a:gsLst>
              <a:gs pos="0">
                <a:srgbClr val="808080">
                  <a:lumMod val="20000"/>
                  <a:lumOff val="80000"/>
                </a:srgbClr>
              </a:gs>
              <a:gs pos="100000">
                <a:srgbClr val="FFFFFF"/>
              </a:gs>
            </a:gsLst>
            <a:lin ang="5400000" scaled="1"/>
          </a:gra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A2EF5F4-2401-4656-A370-91EDB4362A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0" y="800708"/>
            <a:ext cx="12192000" cy="0"/>
          </a:xfrm>
          <a:prstGeom prst="line">
            <a:avLst/>
          </a:prstGeom>
          <a:noFill/>
          <a:ln w="6350" algn="ctr">
            <a:solidFill>
              <a:schemeClr val="tx2">
                <a:alpha val="89804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0F35580B-D748-4C75-BA90-CFE98EBDDD58}"/>
              </a:ext>
            </a:extLst>
          </p:cNvPr>
          <p:cNvSpPr/>
          <p:nvPr userDrawn="1"/>
        </p:nvSpPr>
        <p:spPr>
          <a:xfrm>
            <a:off x="56143" y="0"/>
            <a:ext cx="69118" cy="72651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63189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56B5FE-5108-4FA1-BE45-3587A81C9D8F}"/>
              </a:ext>
            </a:extLst>
          </p:cNvPr>
          <p:cNvSpPr/>
          <p:nvPr userDrawn="1"/>
        </p:nvSpPr>
        <p:spPr>
          <a:xfrm>
            <a:off x="56143" y="0"/>
            <a:ext cx="69118" cy="72651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31611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C434B9-8097-4BD7-880B-5F3B07B165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C4F89F-1804-47F5-991D-E03C59A2FD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52C62B-C704-4429-91FE-9C144F2A0A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2DD-4208-421D-B44D-017DD2175EC8}" type="datetimeFigureOut">
              <a:rPr lang="en-US" smtClean="0"/>
              <a:t>11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A40016-30B9-4F5C-BCEB-26FC3A0E85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18A16B-DB50-4AA7-9C32-47122A2A8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8B901-C45F-40EA-81E2-99985EE23F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1484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F8F9A-5DA6-408E-93E4-9DAB1BAFCE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9A79D0-FB92-498A-A65F-5207191221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874067-F901-4455-B790-DD1EE4E6DE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2DD-4208-421D-B44D-017DD2175EC8}" type="datetimeFigureOut">
              <a:rPr lang="en-US" smtClean="0"/>
              <a:t>11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0E1182-1080-4138-9528-7C98F3C0A1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49A2F6-ADC0-4139-BC45-E493E9EA27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8B901-C45F-40EA-81E2-99985EE23F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620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44697F-F516-48A3-AB66-172925AED4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DF6780-DA18-447B-B28E-15E2956A4B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E0359D-2122-4668-A79B-6393C5F9FC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16DE07-B751-4F65-B909-84D4A914A0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2DD-4208-421D-B44D-017DD2175EC8}" type="datetimeFigureOut">
              <a:rPr lang="en-US" smtClean="0"/>
              <a:t>11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5B32D0A-74BE-4F46-9B0E-FE5BFA96A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97F898-82FB-45FE-86BF-2BF39E5C4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8B901-C45F-40EA-81E2-99985EE23F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322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540B6C-164F-42F5-8A51-A2CFB165C3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7FC968-9FAB-4B18-A66B-3A070DD704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EE1162-D36E-4D5B-BB4D-A60386BCEA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95EB144-D18E-4D0E-9888-E2A8BD82D03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C892281-D037-4C14-BA88-50A7D7C727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D7473FF-410A-479A-B779-54429C41EF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2DD-4208-421D-B44D-017DD2175EC8}" type="datetimeFigureOut">
              <a:rPr lang="en-US" smtClean="0"/>
              <a:t>11/6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66C114-9AD3-446D-B545-98B2A8A69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4E1DDCD-6F82-4C6C-9287-D5BED8D0BA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8B901-C45F-40EA-81E2-99985EE23F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19801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294F73-1BA6-4500-BE3B-C0427CA66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B9A7D5-4E46-4C1B-84FD-941DF52DF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2DD-4208-421D-B44D-017DD2175EC8}" type="datetimeFigureOut">
              <a:rPr lang="en-US" smtClean="0"/>
              <a:t>11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ACB137-5A62-4D2B-9E26-B9E808C863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50B17C-4DF9-4128-8F91-610C6D1E08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8B901-C45F-40EA-81E2-99985EE23F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6372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1616B07-48C1-40C0-9B61-9DB522BA32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2DD-4208-421D-B44D-017DD2175EC8}" type="datetimeFigureOut">
              <a:rPr lang="en-US" smtClean="0"/>
              <a:t>11/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6D347E8-0380-4691-8439-9C4F49EC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F83E5A-3268-4CFB-8E7F-27D5E9AE15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8B901-C45F-40EA-81E2-99985EE23F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45529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264C10-6BCB-4C8E-BCA0-885256B4F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41AD09-CD10-42EF-8A1B-A629DB60DA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7E153F-B7D9-452E-A506-7A0114CDCC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1F66EB-5010-4129-81E1-0E49817EC9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2DD-4208-421D-B44D-017DD2175EC8}" type="datetimeFigureOut">
              <a:rPr lang="en-US" smtClean="0"/>
              <a:t>11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12F3B6-B534-41A5-BE69-F67096A010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16111A-510D-47BC-B869-DB1D9384B4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8B901-C45F-40EA-81E2-99985EE23F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5325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95B832-BFE8-423E-BD28-5476A879D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5FCC86C-2F94-4666-9D0F-10834FB24DA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C2E84C-99FF-4D0B-8494-95F2D04B4D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A09910E-6379-446D-B44B-C58D0B4467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2DD-4208-421D-B44D-017DD2175EC8}" type="datetimeFigureOut">
              <a:rPr lang="en-US" smtClean="0"/>
              <a:t>11/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5DFA1F-769A-4C67-ACB1-4D4D743373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C50E29-433C-4C67-88E0-1F1954C8C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8B901-C45F-40EA-81E2-99985EE23F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5061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9" Type="http://schemas.openxmlformats.org/officeDocument/2006/relationships/oleObject" Target="../embeddings/oleObject2.bin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41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tags" Target="../tags/tag34.x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tags" Target="../tags/tag33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Relationship Id="rId8" Type="http://schemas.openxmlformats.org/officeDocument/2006/relationships/tags" Target="../tags/tag5.xml"/><Relationship Id="rId3" Type="http://schemas.openxmlformats.org/officeDocument/2006/relationships/slideLayout" Target="../slideLayouts/slideLayout1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tags" Target="../tags/tag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EA6EE5E-C884-4AB9-86D0-B2987F9E8C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26443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30" imgH="531" progId="TCLayout.ActiveDocument.1">
                  <p:embed/>
                </p:oleObj>
              </mc:Choice>
              <mc:Fallback>
                <p:oleObj name="think-cell Slide" r:id="rId1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EA6EE5E-C884-4AB9-86D0-B2987F9E8C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7C0D02C-62CA-4E7B-B098-635CC7520816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0E3B76B-4B61-4656-995F-AD1B31C407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7984F8-95DB-4978-91A6-D6DAAE1707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30B15C-8FBE-43F9-BB16-79C4112857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5432DD-4208-421D-B44D-017DD2175EC8}" type="datetimeFigureOut">
              <a:rPr lang="en-US" smtClean="0"/>
              <a:t>11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4DA188-EB4E-47A0-B11C-6A48BAE26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01944F-E049-434F-8391-1A14020A99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78B901-C45F-40EA-81E2-99985EE23F4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AFC4EC-E513-B988-FE37-390E62DE1C8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72580"/>
            <a:ext cx="34766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ID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44695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81365007"/>
              </p:ext>
            </p:ext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7" name="LTCover">
            <a:extLst>
              <a:ext uri="{FF2B5EF4-FFF2-40B4-BE49-F238E27FC236}">
                <a16:creationId xmlns:a16="http://schemas.microsoft.com/office/drawing/2014/main" id="{B91BF7A9-0837-4162-AAE7-C2468B8460C1}"/>
              </a:ext>
            </a:extLst>
          </p:cNvPr>
          <p:cNvSpPr>
            <a:spLocks/>
          </p:cNvSpPr>
          <p:nvPr userDrawn="1"/>
        </p:nvSpPr>
        <p:spPr bwMode="gray">
          <a:xfrm>
            <a:off x="0" y="808668"/>
            <a:ext cx="12185353" cy="615950"/>
          </a:xfrm>
          <a:prstGeom prst="rect">
            <a:avLst/>
          </a:prstGeom>
          <a:gradFill>
            <a:gsLst>
              <a:gs pos="0">
                <a:srgbClr val="808080">
                  <a:lumMod val="20000"/>
                  <a:lumOff val="80000"/>
                </a:srgbClr>
              </a:gs>
              <a:gs pos="100000">
                <a:srgbClr val="FFFFFF"/>
              </a:gs>
            </a:gsLst>
            <a:lin ang="5400000" scaled="1"/>
          </a:gra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151046"/>
            <a:ext cx="1076542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6" y="3158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7" y="822406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437248"/>
            <a:ext cx="11630453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4138" indent="-84138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6" y="6642955"/>
            <a:ext cx="11127223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9113" indent="-519113" defTabSz="1218026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2371626" y="2615195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 userDrawn="1"/>
        </p:nvSpPr>
        <p:spPr bwMode="gray">
          <a:xfrm>
            <a:off x="11846257" y="664171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x-none" sz="800" baseline="0" smtClean="0">
                <a:solidFill>
                  <a:schemeClr val="accent6"/>
                </a:solidFill>
              </a:rPr>
              <a:pPr lvl="0" algn="r"/>
              <a:t>‹#›</a:t>
            </a:fld>
            <a:endParaRPr lang="x-none" sz="800" baseline="0" dirty="0">
              <a:solidFill>
                <a:schemeClr val="accent6"/>
              </a:solidFill>
            </a:endParaRP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1207703" y="865904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899728" y="865904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 userDrawn="1"/>
        </p:nvGrpSpPr>
        <p:grpSpPr bwMode="auto">
          <a:xfrm>
            <a:off x="11246285" y="865904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4B205407-EB81-46A7-9174-C641A400BBA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0" y="800708"/>
            <a:ext cx="12192000" cy="0"/>
          </a:xfrm>
          <a:prstGeom prst="line">
            <a:avLst/>
          </a:prstGeom>
          <a:noFill/>
          <a:ln w="6350" algn="ctr">
            <a:solidFill>
              <a:schemeClr val="tx2">
                <a:alpha val="89804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C756BB36-8322-4A22-BE63-EB1EC6A14BC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0" y="6838141"/>
            <a:ext cx="12192000" cy="0"/>
          </a:xfrm>
          <a:prstGeom prst="line">
            <a:avLst/>
          </a:prstGeom>
          <a:noFill/>
          <a:ln w="38100" algn="ctr">
            <a:solidFill>
              <a:srgbClr val="E3051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8" name="Picture 5" descr="Home">
            <a:extLst>
              <a:ext uri="{FF2B5EF4-FFF2-40B4-BE49-F238E27FC236}">
                <a16:creationId xmlns:a16="http://schemas.microsoft.com/office/drawing/2014/main" id="{F1281771-86F7-43CB-BCB6-D7DFB832D2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51869" y="54864"/>
            <a:ext cx="960061" cy="420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0" name="QuaterMoon" hidden="1">
            <a:extLst>
              <a:ext uri="{FF2B5EF4-FFF2-40B4-BE49-F238E27FC236}">
                <a16:creationId xmlns:a16="http://schemas.microsoft.com/office/drawing/2014/main" id="{EA2B1D1D-3398-4F61-BD38-C5E9F6D815B7}"/>
              </a:ext>
            </a:extLst>
          </p:cNvPr>
          <p:cNvGrpSpPr>
            <a:grpSpLocks noChangeAspect="1"/>
          </p:cNvGrpSpPr>
          <p:nvPr userDrawn="1">
            <p:custDataLst>
              <p:tags r:id="rId9"/>
            </p:custDataLst>
          </p:nvPr>
        </p:nvGrpSpPr>
        <p:grpSpPr>
          <a:xfrm>
            <a:off x="10939884" y="3208689"/>
            <a:ext cx="254000" cy="254000"/>
            <a:chOff x="762000" y="1270000"/>
            <a:chExt cx="254000" cy="25400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677D3D2E-A19E-409D-80E6-FDCB169C6CFD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3" name="Arc 62">
              <a:extLst>
                <a:ext uri="{FF2B5EF4-FFF2-40B4-BE49-F238E27FC236}">
                  <a16:creationId xmlns:a16="http://schemas.microsoft.com/office/drawing/2014/main" id="{EB103070-6D9D-4652-9FBC-C38EEA223F55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4" name="HalfMoon" hidden="1">
            <a:extLst>
              <a:ext uri="{FF2B5EF4-FFF2-40B4-BE49-F238E27FC236}">
                <a16:creationId xmlns:a16="http://schemas.microsoft.com/office/drawing/2014/main" id="{AE0669F7-4077-4C15-9F53-D0B144618D95}"/>
              </a:ext>
            </a:extLst>
          </p:cNvPr>
          <p:cNvGrpSpPr>
            <a:grpSpLocks noChangeAspect="1"/>
          </p:cNvGrpSpPr>
          <p:nvPr userDrawn="1">
            <p:custDataLst>
              <p:tags r:id="rId10"/>
            </p:custDataLst>
          </p:nvPr>
        </p:nvGrpSpPr>
        <p:grpSpPr>
          <a:xfrm>
            <a:off x="10939884" y="3716689"/>
            <a:ext cx="254000" cy="254000"/>
            <a:chOff x="762000" y="1270000"/>
            <a:chExt cx="254000" cy="254000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B2DBECF6-60D3-410C-B22C-FF1079338EE3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6" name="Arc 65">
              <a:extLst>
                <a:ext uri="{FF2B5EF4-FFF2-40B4-BE49-F238E27FC236}">
                  <a16:creationId xmlns:a16="http://schemas.microsoft.com/office/drawing/2014/main" id="{7FB30BF5-EF02-45FA-901B-59CAEC0FFBC8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7" name="3QuaterMoon" hidden="1">
            <a:extLst>
              <a:ext uri="{FF2B5EF4-FFF2-40B4-BE49-F238E27FC236}">
                <a16:creationId xmlns:a16="http://schemas.microsoft.com/office/drawing/2014/main" id="{FFAABA19-661A-4478-AF56-32C4611BD3C6}"/>
              </a:ext>
            </a:extLst>
          </p:cNvPr>
          <p:cNvGrpSpPr>
            <a:grpSpLocks noChangeAspect="1"/>
          </p:cNvGrpSpPr>
          <p:nvPr userDrawn="1">
            <p:custDataLst>
              <p:tags r:id="rId11"/>
            </p:custDataLst>
          </p:nvPr>
        </p:nvGrpSpPr>
        <p:grpSpPr>
          <a:xfrm>
            <a:off x="10939884" y="4224689"/>
            <a:ext cx="254000" cy="254000"/>
            <a:chOff x="762000" y="1270000"/>
            <a:chExt cx="254000" cy="254000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AEC4292A-D941-42CD-90F8-FCEDA3AE364F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69" name="Arc 68">
              <a:extLst>
                <a:ext uri="{FF2B5EF4-FFF2-40B4-BE49-F238E27FC236}">
                  <a16:creationId xmlns:a16="http://schemas.microsoft.com/office/drawing/2014/main" id="{D891A693-00CF-4321-BCA3-CD312D23A920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70" name="FullMoon" hidden="1">
            <a:extLst>
              <a:ext uri="{FF2B5EF4-FFF2-40B4-BE49-F238E27FC236}">
                <a16:creationId xmlns:a16="http://schemas.microsoft.com/office/drawing/2014/main" id="{92856483-8EF3-42C4-90A2-C6E60C008840}"/>
              </a:ext>
            </a:extLst>
          </p:cNvPr>
          <p:cNvGrpSpPr>
            <a:grpSpLocks noChangeAspect="1"/>
          </p:cNvGrpSpPr>
          <p:nvPr userDrawn="1">
            <p:custDataLst>
              <p:tags r:id="rId12"/>
            </p:custDataLst>
          </p:nvPr>
        </p:nvGrpSpPr>
        <p:grpSpPr>
          <a:xfrm>
            <a:off x="10939884" y="4732689"/>
            <a:ext cx="254000" cy="254000"/>
            <a:chOff x="762000" y="1270000"/>
            <a:chExt cx="254000" cy="254000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919144A0-838E-42F2-8637-C8E12A1C0AE3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2" name="Arc 71">
              <a:extLst>
                <a:ext uri="{FF2B5EF4-FFF2-40B4-BE49-F238E27FC236}">
                  <a16:creationId xmlns:a16="http://schemas.microsoft.com/office/drawing/2014/main" id="{7DBE87F3-D62C-4E65-86F0-2DD5D67917C4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3" name="LegendMoons" hidden="1">
            <a:extLst>
              <a:ext uri="{FF2B5EF4-FFF2-40B4-BE49-F238E27FC236}">
                <a16:creationId xmlns:a16="http://schemas.microsoft.com/office/drawing/2014/main" id="{D2461C08-0376-4914-8E50-24B9A5C2CDEF}"/>
              </a:ext>
            </a:extLst>
          </p:cNvPr>
          <p:cNvGrpSpPr/>
          <p:nvPr userDrawn="1"/>
        </p:nvGrpSpPr>
        <p:grpSpPr bwMode="auto">
          <a:xfrm>
            <a:off x="11140861" y="865904"/>
            <a:ext cx="830430" cy="1306516"/>
            <a:chOff x="6655594" y="273840"/>
            <a:chExt cx="830430" cy="1306516"/>
          </a:xfrm>
        </p:grpSpPr>
        <p:grpSp>
          <p:nvGrpSpPr>
            <p:cNvPr id="74" name="MoonLegend1">
              <a:extLst>
                <a:ext uri="{FF2B5EF4-FFF2-40B4-BE49-F238E27FC236}">
                  <a16:creationId xmlns:a16="http://schemas.microsoft.com/office/drawing/2014/main" id="{C25E90DB-AD3A-4C3C-B1FD-91A8C4C6BAC2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92" name="Oval 38">
                <a:extLst>
                  <a:ext uri="{FF2B5EF4-FFF2-40B4-BE49-F238E27FC236}">
                    <a16:creationId xmlns:a16="http://schemas.microsoft.com/office/drawing/2014/main" id="{3489360A-F66F-4E56-B961-65D1FCF0EDC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3" name="Arc 39">
                <a:extLst>
                  <a:ext uri="{FF2B5EF4-FFF2-40B4-BE49-F238E27FC236}">
                    <a16:creationId xmlns:a16="http://schemas.microsoft.com/office/drawing/2014/main" id="{3AD3FDFF-038A-4153-818A-055843E63495}"/>
                  </a:ext>
                </a:extLst>
              </p:cNvPr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2">
              <a:extLst>
                <a:ext uri="{FF2B5EF4-FFF2-40B4-BE49-F238E27FC236}">
                  <a16:creationId xmlns:a16="http://schemas.microsoft.com/office/drawing/2014/main" id="{432F7DF0-5D10-41E7-A6C6-4D9B1D8BC1B8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90" name="Oval 41">
                <a:extLst>
                  <a:ext uri="{FF2B5EF4-FFF2-40B4-BE49-F238E27FC236}">
                    <a16:creationId xmlns:a16="http://schemas.microsoft.com/office/drawing/2014/main" id="{16194D00-3F88-49CF-8ADF-DBD46CC513A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1" name="Arc 42">
                <a:extLst>
                  <a:ext uri="{FF2B5EF4-FFF2-40B4-BE49-F238E27FC236}">
                    <a16:creationId xmlns:a16="http://schemas.microsoft.com/office/drawing/2014/main" id="{5753E86E-2C79-44DB-91ED-8F49A45DF8E8}"/>
                  </a:ext>
                </a:extLst>
              </p:cNvPr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>
              <a:extLst>
                <a:ext uri="{FF2B5EF4-FFF2-40B4-BE49-F238E27FC236}">
                  <a16:creationId xmlns:a16="http://schemas.microsoft.com/office/drawing/2014/main" id="{5727A219-7CE3-4CA3-A39F-1C495FD5D559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88" name="Oval 47">
                <a:extLst>
                  <a:ext uri="{FF2B5EF4-FFF2-40B4-BE49-F238E27FC236}">
                    <a16:creationId xmlns:a16="http://schemas.microsoft.com/office/drawing/2014/main" id="{CACF08E5-55CE-40B1-B643-EDB626600EC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9" name="Arc 48">
                <a:extLst>
                  <a:ext uri="{FF2B5EF4-FFF2-40B4-BE49-F238E27FC236}">
                    <a16:creationId xmlns:a16="http://schemas.microsoft.com/office/drawing/2014/main" id="{18EABDAB-CBD7-4856-A411-10F4923A1E83}"/>
                  </a:ext>
                </a:extLst>
              </p:cNvPr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>
              <a:extLst>
                <a:ext uri="{FF2B5EF4-FFF2-40B4-BE49-F238E27FC236}">
                  <a16:creationId xmlns:a16="http://schemas.microsoft.com/office/drawing/2014/main" id="{F2F9F8D6-56FA-4576-A40B-FA770018CD90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86" name="Oval 50">
                <a:extLst>
                  <a:ext uri="{FF2B5EF4-FFF2-40B4-BE49-F238E27FC236}">
                    <a16:creationId xmlns:a16="http://schemas.microsoft.com/office/drawing/2014/main" id="{D29FB60D-0F8E-401F-930B-28F662F9037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Oval 51">
                <a:extLst>
                  <a:ext uri="{FF2B5EF4-FFF2-40B4-BE49-F238E27FC236}">
                    <a16:creationId xmlns:a16="http://schemas.microsoft.com/office/drawing/2014/main" id="{CD549566-4C46-4854-8B14-AD3816865D4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78" name="Legend1">
              <a:extLst>
                <a:ext uri="{FF2B5EF4-FFF2-40B4-BE49-F238E27FC236}">
                  <a16:creationId xmlns:a16="http://schemas.microsoft.com/office/drawing/2014/main" id="{1A72CFC0-4065-470C-88C1-3C4B96A3A8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9" name="Legend2">
              <a:extLst>
                <a:ext uri="{FF2B5EF4-FFF2-40B4-BE49-F238E27FC236}">
                  <a16:creationId xmlns:a16="http://schemas.microsoft.com/office/drawing/2014/main" id="{62FE2D60-15A7-4222-9DD9-8CB05C41B7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0" name="Legend3">
              <a:extLst>
                <a:ext uri="{FF2B5EF4-FFF2-40B4-BE49-F238E27FC236}">
                  <a16:creationId xmlns:a16="http://schemas.microsoft.com/office/drawing/2014/main" id="{E30389F1-97F0-4A31-8516-07E752BD1E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1" name="Legend4">
              <a:extLst>
                <a:ext uri="{FF2B5EF4-FFF2-40B4-BE49-F238E27FC236}">
                  <a16:creationId xmlns:a16="http://schemas.microsoft.com/office/drawing/2014/main" id="{5AD9AC16-5161-4884-AA70-34C30223E5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2" name="Legend5">
              <a:extLst>
                <a:ext uri="{FF2B5EF4-FFF2-40B4-BE49-F238E27FC236}">
                  <a16:creationId xmlns:a16="http://schemas.microsoft.com/office/drawing/2014/main" id="{9F7008F1-580D-4843-9C99-C16912A043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83" name="MoonLegend3">
              <a:extLst>
                <a:ext uri="{FF2B5EF4-FFF2-40B4-BE49-F238E27FC236}">
                  <a16:creationId xmlns:a16="http://schemas.microsoft.com/office/drawing/2014/main" id="{C4364354-E3CF-4BD5-9EF2-F9AE9AF258A1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84" name="Oval 47">
                <a:extLst>
                  <a:ext uri="{FF2B5EF4-FFF2-40B4-BE49-F238E27FC236}">
                    <a16:creationId xmlns:a16="http://schemas.microsoft.com/office/drawing/2014/main" id="{DD31FAC0-FD40-4541-8095-B5B011E96DC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8">
                <a:extLst>
                  <a:ext uri="{FF2B5EF4-FFF2-40B4-BE49-F238E27FC236}">
                    <a16:creationId xmlns:a16="http://schemas.microsoft.com/office/drawing/2014/main" id="{D31B3212-07CD-427B-AC5D-DE9CD9CA73D9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94" name="EmptyMoon" hidden="1">
            <a:extLst>
              <a:ext uri="{FF2B5EF4-FFF2-40B4-BE49-F238E27FC236}">
                <a16:creationId xmlns:a16="http://schemas.microsoft.com/office/drawing/2014/main" id="{D40E90A3-B9E4-4846-976F-D42893F466B7}"/>
              </a:ext>
            </a:extLst>
          </p:cNvPr>
          <p:cNvGrpSpPr>
            <a:grpSpLocks noChangeAspect="1"/>
          </p:cNvGrpSpPr>
          <p:nvPr userDrawn="1">
            <p:custDataLst>
              <p:tags r:id="rId13"/>
            </p:custDataLst>
          </p:nvPr>
        </p:nvGrpSpPr>
        <p:grpSpPr>
          <a:xfrm>
            <a:off x="10939884" y="2700689"/>
            <a:ext cx="254000" cy="254000"/>
            <a:chOff x="762000" y="1270000"/>
            <a:chExt cx="254000" cy="254000"/>
          </a:xfrm>
        </p:grpSpPr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1A237CA9-E6B5-418B-8E18-F52ABC6BF93F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96" name="Arc 95" hidden="1">
              <a:extLst>
                <a:ext uri="{FF2B5EF4-FFF2-40B4-BE49-F238E27FC236}">
                  <a16:creationId xmlns:a16="http://schemas.microsoft.com/office/drawing/2014/main" id="{FE6EB873-33D7-47B8-99BF-D87CC5918C78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6350" cap="sq" cmpd="sng" algn="ctr">
              <a:solidFill>
                <a:schemeClr val="accent6"/>
              </a:solidFill>
              <a:prstDash val="solid"/>
              <a:miter lim="800000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ED15A717-6A8B-2890-0DB2-6285B9E8EC4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72580"/>
            <a:ext cx="34766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ID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720924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0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svg"/><Relationship Id="rId3" Type="http://schemas.openxmlformats.org/officeDocument/2006/relationships/image" Target="../media/image11.png"/><Relationship Id="rId7" Type="http://schemas.openxmlformats.org/officeDocument/2006/relationships/image" Target="../media/image15.svg"/><Relationship Id="rId12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11" Type="http://schemas.openxmlformats.org/officeDocument/2006/relationships/image" Target="../media/image19.svg"/><Relationship Id="rId5" Type="http://schemas.openxmlformats.org/officeDocument/2006/relationships/image" Target="../media/image13.sv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8D96C4-BF5C-AC48-7DD1-1AB2BD0C395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0000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722FBEA-2C5D-4543-1168-9EDABD5CA7EF}"/>
              </a:ext>
            </a:extLst>
          </p:cNvPr>
          <p:cNvSpPr/>
          <p:nvPr/>
        </p:nvSpPr>
        <p:spPr>
          <a:xfrm>
            <a:off x="10189029" y="162031"/>
            <a:ext cx="1782146" cy="621739"/>
          </a:xfrm>
          <a:prstGeom prst="roundRect">
            <a:avLst>
              <a:gd name="adj" fmla="val 2405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CDDB5E8-0F5A-49B8-1F6E-A244339E2A42}"/>
              </a:ext>
            </a:extLst>
          </p:cNvPr>
          <p:cNvGrpSpPr/>
          <p:nvPr/>
        </p:nvGrpSpPr>
        <p:grpSpPr>
          <a:xfrm>
            <a:off x="10454527" y="190025"/>
            <a:ext cx="1338682" cy="525201"/>
            <a:chOff x="10014353" y="-57115"/>
            <a:chExt cx="2069835" cy="812052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0D3E081-C372-B190-D46A-894D2FDEE3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014353" y="145822"/>
              <a:ext cx="381504" cy="511827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39FA1DE-2DA0-16FD-BD58-483BC189AC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51810" y="-57115"/>
              <a:ext cx="1732378" cy="812052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75EA92EE-8537-42B7-177F-26B32CD3E37B}"/>
              </a:ext>
            </a:extLst>
          </p:cNvPr>
          <p:cNvSpPr txBox="1"/>
          <p:nvPr/>
        </p:nvSpPr>
        <p:spPr>
          <a:xfrm>
            <a:off x="220825" y="140443"/>
            <a:ext cx="6061947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shboard Capture</a:t>
            </a:r>
            <a:br>
              <a:rPr lang="en-US" sz="2800" b="1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24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timized on 25</a:t>
            </a:r>
            <a:r>
              <a:rPr lang="en-US" sz="2400" i="1" baseline="30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</a:t>
            </a:r>
            <a:r>
              <a:rPr lang="en-US" sz="24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ctober 2024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07D6430-2E3B-F018-5518-C25E37299967}"/>
              </a:ext>
            </a:extLst>
          </p:cNvPr>
          <p:cNvSpPr/>
          <p:nvPr/>
        </p:nvSpPr>
        <p:spPr>
          <a:xfrm>
            <a:off x="1925441" y="5331837"/>
            <a:ext cx="2375390" cy="128016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3025" lvl="0" algn="ctr" fontAlgn="base">
              <a:spcBef>
                <a:spcPts val="100"/>
              </a:spcBef>
              <a:spcAft>
                <a:spcPct val="0"/>
              </a:spcAft>
              <a:buClr>
                <a:srgbClr val="C00000"/>
              </a:buClr>
              <a:defRPr/>
            </a:pPr>
            <a:r>
              <a:rPr lang="en-US" b="1" spc="-5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1 Minute</a:t>
            </a:r>
          </a:p>
          <a:p>
            <a:pPr marL="73025" lvl="0" algn="ctr" fontAlgn="base">
              <a:spcBef>
                <a:spcPts val="100"/>
              </a:spcBef>
              <a:spcAft>
                <a:spcPct val="0"/>
              </a:spcAft>
              <a:buClr>
                <a:srgbClr val="C00000"/>
              </a:buClr>
              <a:defRPr/>
            </a:pPr>
            <a:r>
              <a:rPr lang="en-US" sz="1100" spc="-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Capture report generated manually</a:t>
            </a:r>
            <a:endParaRPr lang="en-US" sz="1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68B177BC-DCEE-77AC-0C4F-4F996DA219C3}"/>
              </a:ext>
            </a:extLst>
          </p:cNvPr>
          <p:cNvSpPr/>
          <p:nvPr/>
        </p:nvSpPr>
        <p:spPr>
          <a:xfrm>
            <a:off x="1925441" y="3707275"/>
            <a:ext cx="2375390" cy="128016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3025" algn="ctr" fontAlgn="base">
              <a:spcBef>
                <a:spcPts val="100"/>
              </a:spcBef>
              <a:spcAft>
                <a:spcPct val="0"/>
              </a:spcAft>
              <a:buClr>
                <a:srgbClr val="C00000"/>
              </a:buClr>
              <a:defRPr/>
            </a:pPr>
            <a:r>
              <a:rPr lang="en-US" b="1" spc="-5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30 Seconds</a:t>
            </a:r>
            <a:br>
              <a:rPr lang="en-US" sz="1600" b="1" spc="-5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 b="1" spc="-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queue report</a:t>
            </a:r>
            <a:r>
              <a:rPr lang="en-US" sz="1100" spc="-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cessed report generated with RPA powered by UiPath</a:t>
            </a:r>
            <a:endParaRPr lang="en-US" sz="1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7882AC98-6245-8097-A265-B2F0956F8613}"/>
              </a:ext>
            </a:extLst>
          </p:cNvPr>
          <p:cNvSpPr/>
          <p:nvPr/>
        </p:nvSpPr>
        <p:spPr>
          <a:xfrm>
            <a:off x="1925441" y="2082714"/>
            <a:ext cx="2375390" cy="128016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8100" dist="1524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3025" algn="ctr" fontAlgn="base">
              <a:spcBef>
                <a:spcPts val="100"/>
              </a:spcBef>
              <a:spcAft>
                <a:spcPct val="0"/>
              </a:spcAft>
              <a:buClr>
                <a:srgbClr val="C00000"/>
              </a:buClr>
              <a:defRPr/>
            </a:pPr>
            <a:r>
              <a:rPr lang="en-US" b="1" spc="-5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15 Seconds</a:t>
            </a:r>
            <a:br>
              <a:rPr lang="en-US" sz="2400" b="1" spc="-5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 spc="-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queue report generated with RPA powered by Power Automate</a:t>
            </a:r>
            <a:endParaRPr lang="en-US" sz="1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03A199B-421B-1286-9082-358D476F026F}"/>
              </a:ext>
            </a:extLst>
          </p:cNvPr>
          <p:cNvSpPr/>
          <p:nvPr/>
        </p:nvSpPr>
        <p:spPr>
          <a:xfrm>
            <a:off x="0" y="2265594"/>
            <a:ext cx="1810652" cy="914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</a:p>
          <a:p>
            <a:pPr algn="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(Power Automate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6D5D9DB-41E0-5135-6409-81F8D410A6C9}"/>
              </a:ext>
            </a:extLst>
          </p:cNvPr>
          <p:cNvSpPr/>
          <p:nvPr/>
        </p:nvSpPr>
        <p:spPr>
          <a:xfrm>
            <a:off x="32415" y="3890155"/>
            <a:ext cx="1778237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revious</a:t>
            </a:r>
          </a:p>
          <a:p>
            <a:pPr algn="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(UiPath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44CFB52-003D-2059-AB40-E581C144A4A1}"/>
              </a:ext>
            </a:extLst>
          </p:cNvPr>
          <p:cNvSpPr/>
          <p:nvPr/>
        </p:nvSpPr>
        <p:spPr>
          <a:xfrm>
            <a:off x="0" y="5514717"/>
            <a:ext cx="1810652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From</a:t>
            </a:r>
          </a:p>
          <a:p>
            <a:pPr algn="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(Human)</a:t>
            </a:r>
          </a:p>
        </p:txBody>
      </p:sp>
      <p:pic>
        <p:nvPicPr>
          <p:cNvPr id="33" name="Graphic 32" descr="Clock">
            <a:extLst>
              <a:ext uri="{FF2B5EF4-FFF2-40B4-BE49-F238E27FC236}">
                <a16:creationId xmlns:a16="http://schemas.microsoft.com/office/drawing/2014/main" id="{AC9CECA4-C25C-BA2C-8AE7-CDFBF285EAD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47376" y="1139061"/>
            <a:ext cx="731520" cy="731520"/>
          </a:xfrm>
          <a:prstGeom prst="rect">
            <a:avLst/>
          </a:prstGeom>
        </p:spPr>
      </p:pic>
      <p:pic>
        <p:nvPicPr>
          <p:cNvPr id="34" name="Graphic 33" descr="Bar graph with downward trend">
            <a:extLst>
              <a:ext uri="{FF2B5EF4-FFF2-40B4-BE49-F238E27FC236}">
                <a16:creationId xmlns:a16="http://schemas.microsoft.com/office/drawing/2014/main" id="{33330CA8-A918-A6CB-0FF0-6C624D8DEDC4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06733" y="1139061"/>
            <a:ext cx="731520" cy="731520"/>
          </a:xfrm>
          <a:prstGeom prst="rect">
            <a:avLst/>
          </a:prstGeom>
        </p:spPr>
      </p:pic>
      <p:pic>
        <p:nvPicPr>
          <p:cNvPr id="35" name="Graphic 84" descr="Clipboard">
            <a:extLst>
              <a:ext uri="{FF2B5EF4-FFF2-40B4-BE49-F238E27FC236}">
                <a16:creationId xmlns:a16="http://schemas.microsoft.com/office/drawing/2014/main" id="{FB2DAE7B-1C4F-5A20-A9B5-DD06EA08063E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417720" y="1139061"/>
            <a:ext cx="731520" cy="731520"/>
          </a:xfrm>
          <a:prstGeom prst="rect">
            <a:avLst/>
          </a:prstGeom>
        </p:spPr>
      </p:pic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96C64E6A-9088-D04F-6E30-03026D859E34}"/>
              </a:ext>
            </a:extLst>
          </p:cNvPr>
          <p:cNvSpPr/>
          <p:nvPr/>
        </p:nvSpPr>
        <p:spPr>
          <a:xfrm>
            <a:off x="4484798" y="5331837"/>
            <a:ext cx="2375390" cy="128016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4288" algn="ctr" fontAlgn="base">
              <a:spcBef>
                <a:spcPts val="100"/>
              </a:spcBef>
              <a:spcAft>
                <a:spcPct val="0"/>
              </a:spcAft>
              <a:buClr>
                <a:srgbClr val="C00000"/>
              </a:buClr>
              <a:defRPr/>
            </a:pPr>
            <a:r>
              <a:rPr lang="en-US" b="1" spc="-5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4 FTE spent</a:t>
            </a:r>
          </a:p>
          <a:p>
            <a:pPr lvl="0" algn="ctr" fontAlgn="base">
              <a:spcBef>
                <a:spcPts val="100"/>
              </a:spcBef>
              <a:spcAft>
                <a:spcPct val="0"/>
              </a:spcAft>
              <a:buClr>
                <a:srgbClr val="C00000"/>
              </a:buClr>
              <a:defRPr/>
            </a:pPr>
            <a:r>
              <a:rPr lang="en-US" sz="1100" spc="-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Corporate Dealing and Collection Department Staff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AB8BF969-166F-BB4B-E09F-BD4242C34D10}"/>
              </a:ext>
            </a:extLst>
          </p:cNvPr>
          <p:cNvSpPr/>
          <p:nvPr/>
        </p:nvSpPr>
        <p:spPr>
          <a:xfrm>
            <a:off x="4484798" y="2082714"/>
            <a:ext cx="2375390" cy="128016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8100" dist="152400" dir="27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3025" lvl="0" algn="ctr" fontAlgn="base">
              <a:spcBef>
                <a:spcPts val="100"/>
              </a:spcBef>
              <a:spcAft>
                <a:spcPct val="0"/>
              </a:spcAft>
              <a:buClr>
                <a:srgbClr val="C00000"/>
              </a:buClr>
              <a:defRPr/>
            </a:pPr>
            <a:r>
              <a:rPr lang="en-US" b="1" spc="-5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mless</a:t>
            </a:r>
            <a:br>
              <a:rPr lang="en-US" b="1" spc="-5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b="1" spc="-5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% automated</a:t>
            </a:r>
            <a:endParaRPr lang="en-US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marR="5080" lvl="0" algn="ctr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</a:pPr>
            <a:r>
              <a:rPr lang="en-US" sz="1100" spc="-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-to-end transaction covered by Digital and Robot automation</a:t>
            </a:r>
            <a:endParaRPr lang="en-US" sz="1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BB2F7C2-BA0A-E845-C477-A9BBD7C47216}"/>
              </a:ext>
            </a:extLst>
          </p:cNvPr>
          <p:cNvSpPr/>
          <p:nvPr/>
        </p:nvSpPr>
        <p:spPr>
          <a:xfrm>
            <a:off x="9595785" y="5331837"/>
            <a:ext cx="2375390" cy="128016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3025" lvl="0" algn="ctr" fontAlgn="base">
              <a:spcBef>
                <a:spcPts val="100"/>
              </a:spcBef>
              <a:spcAft>
                <a:spcPct val="0"/>
              </a:spcAft>
              <a:buClr>
                <a:srgbClr val="C00000"/>
              </a:buClr>
              <a:defRPr/>
            </a:pPr>
            <a:r>
              <a:rPr lang="en-US" b="1" spc="-5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report </a:t>
            </a:r>
            <a:endParaRPr lang="en-US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marR="5080" lvl="0" algn="ctr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</a:pPr>
            <a:r>
              <a:rPr lang="en-US" sz="1100" spc="-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standard and centralized</a:t>
            </a:r>
            <a:endParaRPr lang="en-US" sz="1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17E01700-3587-F545-D7E5-2F7B0487CC99}"/>
              </a:ext>
            </a:extLst>
          </p:cNvPr>
          <p:cNvSpPr/>
          <p:nvPr/>
        </p:nvSpPr>
        <p:spPr>
          <a:xfrm>
            <a:off x="9595785" y="3707275"/>
            <a:ext cx="2375390" cy="128016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3025" lvl="0" algn="ctr" fontAlgn="base">
              <a:spcBef>
                <a:spcPts val="100"/>
              </a:spcBef>
              <a:spcAft>
                <a:spcPct val="0"/>
              </a:spcAft>
              <a:buClr>
                <a:srgbClr val="C00000"/>
              </a:buClr>
              <a:defRPr/>
            </a:pPr>
            <a:r>
              <a:rPr lang="en-US" b="1" spc="-5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ed using Email and Process Log</a:t>
            </a:r>
            <a:endParaRPr lang="en-US" sz="12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marR="5080" lvl="0" algn="ctr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</a:pPr>
            <a:r>
              <a:rPr lang="en-US" sz="1100" spc="-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just manually using process log in Excel and sent an email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541DB3C6-070F-BA15-1DE0-198E158D3429}"/>
              </a:ext>
            </a:extLst>
          </p:cNvPr>
          <p:cNvSpPr/>
          <p:nvPr/>
        </p:nvSpPr>
        <p:spPr>
          <a:xfrm>
            <a:off x="9595785" y="2082714"/>
            <a:ext cx="2375390" cy="1346286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8100" dist="152400" dir="27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3025" lvl="0" algn="ctr" fontAlgn="base">
              <a:spcBef>
                <a:spcPts val="100"/>
              </a:spcBef>
              <a:spcAft>
                <a:spcPct val="0"/>
              </a:spcAft>
              <a:buClr>
                <a:srgbClr val="C00000"/>
              </a:buClr>
              <a:defRPr/>
            </a:pPr>
            <a:r>
              <a:rPr lang="en-US" b="1" spc="-5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ing Method in Email and Process Log</a:t>
            </a:r>
            <a:endParaRPr lang="en-US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marR="5080" lvl="0" algn="ctr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</a:pPr>
            <a:r>
              <a:rPr lang="en-US" sz="1100" spc="-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 Outlook in PA-Robot and using process log in Excel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C441D489-C632-99EF-9E2E-4A228EA3BF2B}"/>
              </a:ext>
            </a:extLst>
          </p:cNvPr>
          <p:cNvSpPr/>
          <p:nvPr/>
        </p:nvSpPr>
        <p:spPr>
          <a:xfrm>
            <a:off x="4484798" y="3707275"/>
            <a:ext cx="2375390" cy="128016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3025" lvl="0" algn="ctr" fontAlgn="base">
              <a:spcBef>
                <a:spcPts val="100"/>
              </a:spcBef>
              <a:spcAft>
                <a:spcPct val="0"/>
              </a:spcAft>
              <a:buClr>
                <a:srgbClr val="C00000"/>
              </a:buClr>
              <a:defRPr/>
            </a:pPr>
            <a:r>
              <a:rPr lang="en-US" b="1" spc="-5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% automated</a:t>
            </a:r>
            <a:endParaRPr lang="en-US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marR="5080" lvl="0" algn="ctr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</a:pPr>
            <a:r>
              <a:rPr lang="en-US" sz="1100" spc="-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-to-end transaction covered by Robot automation</a:t>
            </a:r>
            <a:endParaRPr lang="en-US" sz="1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6" name="Graphic 65" descr="Back">
            <a:extLst>
              <a:ext uri="{FF2B5EF4-FFF2-40B4-BE49-F238E27FC236}">
                <a16:creationId xmlns:a16="http://schemas.microsoft.com/office/drawing/2014/main" id="{BB123B94-D845-FCB8-520D-24CEECB8938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9728529">
            <a:off x="1098419" y="2944738"/>
            <a:ext cx="1286109" cy="1159316"/>
          </a:xfrm>
          <a:prstGeom prst="rect">
            <a:avLst/>
          </a:prstGeom>
        </p:spPr>
      </p:pic>
      <p:pic>
        <p:nvPicPr>
          <p:cNvPr id="67" name="Graphic 66" descr="Back">
            <a:extLst>
              <a:ext uri="{FF2B5EF4-FFF2-40B4-BE49-F238E27FC236}">
                <a16:creationId xmlns:a16="http://schemas.microsoft.com/office/drawing/2014/main" id="{4B39CBC0-AD88-CC40-1CB8-A0995CADC6C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9728529">
            <a:off x="1098418" y="4574716"/>
            <a:ext cx="1286109" cy="1159316"/>
          </a:xfrm>
          <a:prstGeom prst="rect">
            <a:avLst/>
          </a:prstGeom>
        </p:spPr>
      </p:pic>
      <p:pic>
        <p:nvPicPr>
          <p:cNvPr id="2" name="Graphic 1" descr="Monthly calendar">
            <a:extLst>
              <a:ext uri="{FF2B5EF4-FFF2-40B4-BE49-F238E27FC236}">
                <a16:creationId xmlns:a16="http://schemas.microsoft.com/office/drawing/2014/main" id="{7F45DCC6-79C0-6C9A-079C-A6FD941A1ECD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866090" y="1139061"/>
            <a:ext cx="731520" cy="731520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B4E0DE9E-1434-E78E-95E5-2EB4D9E841A3}"/>
              </a:ext>
            </a:extLst>
          </p:cNvPr>
          <p:cNvSpPr/>
          <p:nvPr/>
        </p:nvSpPr>
        <p:spPr>
          <a:xfrm>
            <a:off x="7044155" y="5331837"/>
            <a:ext cx="2375390" cy="128016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3025" lvl="0" algn="ctr" fontAlgn="base">
              <a:spcBef>
                <a:spcPts val="100"/>
              </a:spcBef>
              <a:spcAft>
                <a:spcPct val="0"/>
              </a:spcAft>
              <a:buClr>
                <a:srgbClr val="C00000"/>
              </a:buClr>
              <a:defRPr/>
            </a:pPr>
            <a:r>
              <a:rPr lang="en-US" b="1" spc="-5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ry Monday and </a:t>
            </a:r>
            <a:r>
              <a:rPr lang="en-US" b="1" spc="-5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usday</a:t>
            </a:r>
            <a:endParaRPr lang="en-US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 fontAlgn="base">
              <a:spcBef>
                <a:spcPts val="100"/>
              </a:spcBef>
              <a:spcAft>
                <a:spcPct val="0"/>
              </a:spcAft>
              <a:buClr>
                <a:srgbClr val="C00000"/>
              </a:buClr>
              <a:defRPr/>
            </a:pPr>
            <a:r>
              <a:rPr lang="en-US" sz="1100" spc="-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Corporate Dealing and Collection Department Staff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F2575D57-4667-7EF9-6DFD-8FB500D09D88}"/>
              </a:ext>
            </a:extLst>
          </p:cNvPr>
          <p:cNvSpPr/>
          <p:nvPr/>
        </p:nvSpPr>
        <p:spPr>
          <a:xfrm>
            <a:off x="7044155" y="3707275"/>
            <a:ext cx="2375390" cy="128016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3025" lvl="0" algn="ctr" fontAlgn="base">
              <a:spcBef>
                <a:spcPts val="100"/>
              </a:spcBef>
              <a:spcAft>
                <a:spcPct val="0"/>
              </a:spcAft>
              <a:buClr>
                <a:srgbClr val="C00000"/>
              </a:buClr>
              <a:defRPr/>
            </a:pPr>
            <a:r>
              <a:rPr lang="en-US" b="1" spc="-5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ry Monday, Wednesday, and Friday</a:t>
            </a:r>
          </a:p>
          <a:p>
            <a:pPr marL="73025" algn="ctr" fontAlgn="base">
              <a:spcBef>
                <a:spcPts val="100"/>
              </a:spcBef>
              <a:spcAft>
                <a:spcPct val="0"/>
              </a:spcAft>
              <a:buClr>
                <a:srgbClr val="C00000"/>
              </a:buClr>
              <a:defRPr/>
            </a:pPr>
            <a:r>
              <a:rPr lang="en-US" sz="1100" spc="-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from 14:30 until 15:00)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DB4E9E3-4908-5063-E53A-B7292E38E76C}"/>
              </a:ext>
            </a:extLst>
          </p:cNvPr>
          <p:cNvSpPr/>
          <p:nvPr/>
        </p:nvSpPr>
        <p:spPr>
          <a:xfrm>
            <a:off x="7044155" y="2082714"/>
            <a:ext cx="2375390" cy="128016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8100" dist="152400" dir="27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3025" lvl="0" algn="ctr" fontAlgn="base">
              <a:spcBef>
                <a:spcPts val="100"/>
              </a:spcBef>
              <a:spcAft>
                <a:spcPct val="0"/>
              </a:spcAft>
              <a:buClr>
                <a:srgbClr val="C00000"/>
              </a:buClr>
              <a:defRPr/>
            </a:pPr>
            <a:r>
              <a:rPr lang="en-US" b="1" spc="-5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ry Monday, Wednesday, and Friday</a:t>
            </a:r>
          </a:p>
          <a:p>
            <a:pPr marL="73025" algn="ctr" fontAlgn="base">
              <a:spcBef>
                <a:spcPts val="100"/>
              </a:spcBef>
              <a:spcAft>
                <a:spcPct val="0"/>
              </a:spcAft>
              <a:buClr>
                <a:srgbClr val="C00000"/>
              </a:buClr>
              <a:defRPr/>
            </a:pPr>
            <a:r>
              <a:rPr lang="en-US" sz="1100" spc="-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from 10:30 until 11:00)</a:t>
            </a:r>
          </a:p>
        </p:txBody>
      </p:sp>
    </p:spTree>
    <p:extLst>
      <p:ext uri="{BB962C8B-B14F-4D97-AF65-F5344CB8AC3E}">
        <p14:creationId xmlns:p14="http://schemas.microsoft.com/office/powerpoint/2010/main" val="59735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8D96C4-BF5C-AC48-7DD1-1AB2BD0C395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0000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722FBEA-2C5D-4543-1168-9EDABD5CA7EF}"/>
              </a:ext>
            </a:extLst>
          </p:cNvPr>
          <p:cNvSpPr/>
          <p:nvPr/>
        </p:nvSpPr>
        <p:spPr>
          <a:xfrm>
            <a:off x="10189029" y="162031"/>
            <a:ext cx="1782146" cy="621739"/>
          </a:xfrm>
          <a:prstGeom prst="roundRect">
            <a:avLst>
              <a:gd name="adj" fmla="val 2405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CDDB5E8-0F5A-49B8-1F6E-A244339E2A42}"/>
              </a:ext>
            </a:extLst>
          </p:cNvPr>
          <p:cNvGrpSpPr/>
          <p:nvPr/>
        </p:nvGrpSpPr>
        <p:grpSpPr>
          <a:xfrm>
            <a:off x="10454527" y="190025"/>
            <a:ext cx="1338682" cy="525201"/>
            <a:chOff x="10014353" y="-57115"/>
            <a:chExt cx="2069835" cy="812052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0D3E081-C372-B190-D46A-894D2FDEE3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014353" y="145822"/>
              <a:ext cx="381504" cy="511827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39FA1DE-2DA0-16FD-BD58-483BC189AC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51810" y="-57115"/>
              <a:ext cx="1732378" cy="812052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75EA92EE-8537-42B7-177F-26B32CD3E37B}"/>
              </a:ext>
            </a:extLst>
          </p:cNvPr>
          <p:cNvSpPr txBox="1"/>
          <p:nvPr/>
        </p:nvSpPr>
        <p:spPr>
          <a:xfrm>
            <a:off x="220825" y="140443"/>
            <a:ext cx="6061947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apex Absorption Report</a:t>
            </a:r>
            <a:br>
              <a:rPr lang="en-US" sz="2800" b="1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24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nsaction Monitored during </a:t>
            </a:r>
            <a:r>
              <a:rPr lang="en-US" sz="24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perCare</a:t>
            </a:r>
            <a:endParaRPr lang="en-US" sz="24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E9887C4-BA4F-6C79-34F4-94565603E136}"/>
              </a:ext>
            </a:extLst>
          </p:cNvPr>
          <p:cNvSpPr/>
          <p:nvPr/>
        </p:nvSpPr>
        <p:spPr>
          <a:xfrm>
            <a:off x="343518" y="1379277"/>
            <a:ext cx="11449691" cy="5145872"/>
          </a:xfrm>
          <a:prstGeom prst="roundRect">
            <a:avLst>
              <a:gd name="adj" fmla="val 343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08D7A07F-4D1B-6FA8-0A1F-5DC226EE1C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8939069"/>
              </p:ext>
            </p:extLst>
          </p:nvPr>
        </p:nvGraphicFramePr>
        <p:xfrm>
          <a:off x="609600" y="1735994"/>
          <a:ext cx="10720722" cy="3915077"/>
        </p:xfrm>
        <a:graphic>
          <a:graphicData uri="http://schemas.openxmlformats.org/drawingml/2006/table">
            <a:tbl>
              <a:tblPr/>
              <a:tblGrid>
                <a:gridCol w="1210962">
                  <a:extLst>
                    <a:ext uri="{9D8B030D-6E8A-4147-A177-3AD203B41FA5}">
                      <a16:colId xmlns:a16="http://schemas.microsoft.com/office/drawing/2014/main" val="2299946256"/>
                    </a:ext>
                  </a:extLst>
                </a:gridCol>
                <a:gridCol w="1737360">
                  <a:extLst>
                    <a:ext uri="{9D8B030D-6E8A-4147-A177-3AD203B41FA5}">
                      <a16:colId xmlns:a16="http://schemas.microsoft.com/office/drawing/2014/main" val="1523205763"/>
                    </a:ext>
                  </a:extLst>
                </a:gridCol>
                <a:gridCol w="1706880">
                  <a:extLst>
                    <a:ext uri="{9D8B030D-6E8A-4147-A177-3AD203B41FA5}">
                      <a16:colId xmlns:a16="http://schemas.microsoft.com/office/drawing/2014/main" val="996701836"/>
                    </a:ext>
                  </a:extLst>
                </a:gridCol>
                <a:gridCol w="1595120">
                  <a:extLst>
                    <a:ext uri="{9D8B030D-6E8A-4147-A177-3AD203B41FA5}">
                      <a16:colId xmlns:a16="http://schemas.microsoft.com/office/drawing/2014/main" val="1145441183"/>
                    </a:ext>
                  </a:extLst>
                </a:gridCol>
                <a:gridCol w="1767840">
                  <a:extLst>
                    <a:ext uri="{9D8B030D-6E8A-4147-A177-3AD203B41FA5}">
                      <a16:colId xmlns:a16="http://schemas.microsoft.com/office/drawing/2014/main" val="2964595120"/>
                    </a:ext>
                  </a:extLst>
                </a:gridCol>
                <a:gridCol w="2702560">
                  <a:extLst>
                    <a:ext uri="{9D8B030D-6E8A-4147-A177-3AD203B41FA5}">
                      <a16:colId xmlns:a16="http://schemas.microsoft.com/office/drawing/2014/main" val="1489398941"/>
                    </a:ext>
                  </a:extLst>
                </a:gridCol>
              </a:tblGrid>
              <a:tr h="73975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at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8-Oct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0-Oct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-Nov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-Nov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-Nov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6773063"/>
                  </a:ext>
                </a:extLst>
              </a:tr>
              <a:tr h="158766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Report</a:t>
                      </a: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37</a:t>
                      </a:r>
                      <a:r>
                        <a:rPr lang="en-US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5 Processed AM Email </a:t>
                      </a: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36</a:t>
                      </a:r>
                      <a:r>
                        <a:rPr lang="en-US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5 Processed AM Email</a:t>
                      </a: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36</a:t>
                      </a:r>
                      <a:r>
                        <a:rPr lang="en-US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5 Processed AM Email </a:t>
                      </a: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72</a:t>
                      </a:r>
                      <a:r>
                        <a:rPr lang="en-US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4 Processed AM Email </a:t>
                      </a: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39</a:t>
                      </a:r>
                      <a:r>
                        <a:rPr lang="en-US" sz="2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5 Processed AM Email </a:t>
                      </a: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7283003"/>
                  </a:ext>
                </a:extLst>
              </a:tr>
              <a:tr h="158766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Total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Time</a:t>
                      </a: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70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Minutes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+mn-cs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Segoe UI Light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65</a:t>
                      </a:r>
                      <a:endParaRPr kumimoji="0" lang="en-US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Minutes</a:t>
                      </a: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78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Minutes</a:t>
                      </a: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67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Minutes</a:t>
                      </a: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66</a:t>
                      </a: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+mn-cs"/>
                        </a:rPr>
                        <a:t>Minutes</a:t>
                      </a: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1118514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7BA90747-2B61-90EE-A06A-E23C4B55D16D}"/>
              </a:ext>
            </a:extLst>
          </p:cNvPr>
          <p:cNvSpPr txBox="1"/>
          <p:nvPr/>
        </p:nvSpPr>
        <p:spPr>
          <a:xfrm>
            <a:off x="1528493" y="5824212"/>
            <a:ext cx="60974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000000"/>
                </a:solidFill>
                <a:effectLst/>
                <a:latin typeface="Segoe UI Ligh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 In 28 Oct - 6 Nov the bot was turned off due to issue in email delivery</a:t>
            </a:r>
            <a:endParaRPr lang="en-US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5207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8D96C4-BF5C-AC48-7DD1-1AB2BD0C395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0000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722FBEA-2C5D-4543-1168-9EDABD5CA7EF}"/>
              </a:ext>
            </a:extLst>
          </p:cNvPr>
          <p:cNvSpPr/>
          <p:nvPr/>
        </p:nvSpPr>
        <p:spPr>
          <a:xfrm>
            <a:off x="10189029" y="162031"/>
            <a:ext cx="1782146" cy="621739"/>
          </a:xfrm>
          <a:prstGeom prst="roundRect">
            <a:avLst>
              <a:gd name="adj" fmla="val 2405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CDDB5E8-0F5A-49B8-1F6E-A244339E2A42}"/>
              </a:ext>
            </a:extLst>
          </p:cNvPr>
          <p:cNvGrpSpPr/>
          <p:nvPr/>
        </p:nvGrpSpPr>
        <p:grpSpPr>
          <a:xfrm>
            <a:off x="10454527" y="190025"/>
            <a:ext cx="1338682" cy="525201"/>
            <a:chOff x="10014353" y="-57115"/>
            <a:chExt cx="2069835" cy="812052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0D3E081-C372-B190-D46A-894D2FDEE3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014353" y="145822"/>
              <a:ext cx="381504" cy="511827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39FA1DE-2DA0-16FD-BD58-483BC189AC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51810" y="-57115"/>
              <a:ext cx="1732378" cy="812052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75EA92EE-8537-42B7-177F-26B32CD3E37B}"/>
              </a:ext>
            </a:extLst>
          </p:cNvPr>
          <p:cNvSpPr txBox="1"/>
          <p:nvPr/>
        </p:nvSpPr>
        <p:spPr>
          <a:xfrm>
            <a:off x="220825" y="140443"/>
            <a:ext cx="6061947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shboard Capture</a:t>
            </a:r>
            <a:br>
              <a:rPr lang="en-US" sz="2800" b="1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2400" i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ssue Tracker during </a:t>
            </a:r>
            <a:r>
              <a:rPr lang="en-US" sz="2400" i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yperCare</a:t>
            </a:r>
            <a:endParaRPr lang="en-US" sz="2400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E9887C4-BA4F-6C79-34F4-94565603E136}"/>
              </a:ext>
            </a:extLst>
          </p:cNvPr>
          <p:cNvSpPr/>
          <p:nvPr/>
        </p:nvSpPr>
        <p:spPr>
          <a:xfrm>
            <a:off x="220824" y="1192241"/>
            <a:ext cx="11750351" cy="5025870"/>
          </a:xfrm>
          <a:prstGeom prst="roundRect">
            <a:avLst>
              <a:gd name="adj" fmla="val 343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FF972B0-5026-7712-702E-905A8CAE63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1967555"/>
              </p:ext>
            </p:extLst>
          </p:nvPr>
        </p:nvGraphicFramePr>
        <p:xfrm>
          <a:off x="479425" y="1441465"/>
          <a:ext cx="11233150" cy="1835034"/>
        </p:xfrm>
        <a:graphic>
          <a:graphicData uri="http://schemas.openxmlformats.org/drawingml/2006/table">
            <a:tbl>
              <a:tblPr/>
              <a:tblGrid>
                <a:gridCol w="375982">
                  <a:extLst>
                    <a:ext uri="{9D8B030D-6E8A-4147-A177-3AD203B41FA5}">
                      <a16:colId xmlns:a16="http://schemas.microsoft.com/office/drawing/2014/main" val="3613428704"/>
                    </a:ext>
                  </a:extLst>
                </a:gridCol>
                <a:gridCol w="1868129">
                  <a:extLst>
                    <a:ext uri="{9D8B030D-6E8A-4147-A177-3AD203B41FA5}">
                      <a16:colId xmlns:a16="http://schemas.microsoft.com/office/drawing/2014/main" val="358514636"/>
                    </a:ext>
                  </a:extLst>
                </a:gridCol>
                <a:gridCol w="993059">
                  <a:extLst>
                    <a:ext uri="{9D8B030D-6E8A-4147-A177-3AD203B41FA5}">
                      <a16:colId xmlns:a16="http://schemas.microsoft.com/office/drawing/2014/main" val="1805882032"/>
                    </a:ext>
                  </a:extLst>
                </a:gridCol>
                <a:gridCol w="2231922">
                  <a:extLst>
                    <a:ext uri="{9D8B030D-6E8A-4147-A177-3AD203B41FA5}">
                      <a16:colId xmlns:a16="http://schemas.microsoft.com/office/drawing/2014/main" val="2978064990"/>
                    </a:ext>
                  </a:extLst>
                </a:gridCol>
                <a:gridCol w="2182761">
                  <a:extLst>
                    <a:ext uri="{9D8B030D-6E8A-4147-A177-3AD203B41FA5}">
                      <a16:colId xmlns:a16="http://schemas.microsoft.com/office/drawing/2014/main" val="3345852682"/>
                    </a:ext>
                  </a:extLst>
                </a:gridCol>
                <a:gridCol w="2853531">
                  <a:extLst>
                    <a:ext uri="{9D8B030D-6E8A-4147-A177-3AD203B41FA5}">
                      <a16:colId xmlns:a16="http://schemas.microsoft.com/office/drawing/2014/main" val="3916989679"/>
                    </a:ext>
                  </a:extLst>
                </a:gridCol>
                <a:gridCol w="727766">
                  <a:extLst>
                    <a:ext uri="{9D8B030D-6E8A-4147-A177-3AD203B41FA5}">
                      <a16:colId xmlns:a16="http://schemas.microsoft.com/office/drawing/2014/main" val="3607966894"/>
                    </a:ext>
                  </a:extLst>
                </a:gridCol>
              </a:tblGrid>
              <a:tr h="274565"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 dirty="0">
                          <a:solidFill>
                            <a:srgbClr val="FFFFFF"/>
                          </a:solidFill>
                          <a:effectLst/>
                          <a:latin typeface="Segoe UI Light" panose="020B050204020402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>
                          <a:solidFill>
                            <a:srgbClr val="FFFFFF"/>
                          </a:solidFill>
                          <a:effectLst/>
                          <a:latin typeface="Segoe UI Light" panose="020B050204020402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inding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>
                          <a:solidFill>
                            <a:srgbClr val="FFFFFF"/>
                          </a:solidFill>
                          <a:effectLst/>
                          <a:latin typeface="Segoe UI Light" panose="020B050204020402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tegory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>
                          <a:solidFill>
                            <a:srgbClr val="FFFFFF"/>
                          </a:solidFill>
                          <a:effectLst/>
                          <a:latin typeface="Segoe UI Light" panose="020B050204020402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rror Messag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>
                          <a:solidFill>
                            <a:srgbClr val="FFFFFF"/>
                          </a:solidFill>
                          <a:effectLst/>
                          <a:latin typeface="Segoe UI Light" panose="020B050204020402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oot Caus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100" b="1" kern="1200">
                          <a:solidFill>
                            <a:srgbClr val="FFFFFF"/>
                          </a:solidFill>
                          <a:effectLst/>
                          <a:latin typeface="Segoe UI Light" panose="020B050204020402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lutio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200">
                          <a:solidFill>
                            <a:srgbClr val="FFFFFF"/>
                          </a:solidFill>
                          <a:effectLst/>
                          <a:latin typeface="Segoe UI Light" panose="020B050204020402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tu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8396295"/>
                  </a:ext>
                </a:extLst>
              </a:tr>
              <a:tr h="492601"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nfig Excel Online</a:t>
                      </a: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cident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nnot read Config Excel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verload in Asia Excel Connector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1" dirty="0">
                          <a:solidFill>
                            <a:schemeClr val="accent6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[P]</a:t>
                      </a:r>
                      <a:r>
                        <a:rPr lang="en-US" sz="1050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djust the Microsoft to increase size of connector references in Excel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kern="120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solv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949374"/>
                  </a:ext>
                </a:extLst>
              </a:tr>
              <a:tr h="347244"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nd mail activity issu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cident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loud connector call failed with status code 'Forbidden'. </a:t>
                      </a: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d activity us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1" dirty="0">
                          <a:solidFill>
                            <a:schemeClr val="accent6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[P]</a:t>
                      </a:r>
                      <a:r>
                        <a:rPr lang="en-US" sz="1050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hange activity from send mail v2 to send mail from shared mailbox and set on error properti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solv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3319862"/>
                  </a:ext>
                </a:extLst>
              </a:tr>
              <a:tr h="347244"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M Corruption</a:t>
                      </a: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cident</a:t>
                      </a: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kern="1200" dirty="0">
                          <a:solidFill>
                            <a:srgbClr val="000000"/>
                          </a:solidFill>
                          <a:effectLst/>
                          <a:latin typeface="Segoe UI Light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known</a:t>
                      </a: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known</a:t>
                      </a: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accent6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[P]</a:t>
                      </a: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start and Boot VM</a:t>
                      </a: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solved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1632537"/>
                  </a:ext>
                </a:extLst>
              </a:tr>
              <a:tr h="347244"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kern="1200" dirty="0">
                        <a:solidFill>
                          <a:srgbClr val="000000"/>
                        </a:solidFill>
                        <a:effectLst/>
                        <a:latin typeface="Segoe UI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6464229"/>
                  </a:ext>
                </a:extLst>
              </a:tr>
            </a:tbl>
          </a:graphicData>
        </a:graphic>
      </p:graphicFrame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760FABFB-7CCB-8E67-B9C9-D7EF02BC99F4}"/>
              </a:ext>
            </a:extLst>
          </p:cNvPr>
          <p:cNvSpPr/>
          <p:nvPr/>
        </p:nvSpPr>
        <p:spPr>
          <a:xfrm>
            <a:off x="220824" y="6367955"/>
            <a:ext cx="3156858" cy="3402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85BD4AE-4BE6-DDBA-1052-919F8D5D9161}"/>
              </a:ext>
            </a:extLst>
          </p:cNvPr>
          <p:cNvSpPr txBox="1"/>
          <p:nvPr/>
        </p:nvSpPr>
        <p:spPr>
          <a:xfrm>
            <a:off x="330137" y="6414944"/>
            <a:ext cx="6183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chemeClr val="accent6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[P] </a:t>
            </a:r>
            <a:r>
              <a:rPr lang="en-US" sz="1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= Permanent Solution | </a:t>
            </a:r>
            <a:r>
              <a:rPr lang="en-US" sz="1000" b="1" dirty="0">
                <a:solidFill>
                  <a:schemeClr val="accent1"/>
                </a:solidFill>
                <a:effectLst/>
                <a:latin typeface="Calibri" panose="020F0502020204030204" pitchFamily="34" charset="0"/>
              </a:rPr>
              <a:t>[T] </a:t>
            </a:r>
            <a:r>
              <a:rPr lang="en-US" sz="1000" dirty="0">
                <a:effectLst/>
                <a:latin typeface="Calibri" panose="020F0502020204030204" pitchFamily="34" charset="0"/>
              </a:rPr>
              <a:t>= Temporary Solution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6460255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Empty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kHnML0_ck8Y_E1e61r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Trsr81Nf5uk3yxnr8XV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fyOgGnTrlxDsDK6BrR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NqBzAv69X5AcK81Ud_3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JK0726_CF">
  <a:themeElements>
    <a:clrScheme name="Current">
      <a:dk1>
        <a:srgbClr val="000000"/>
      </a:dk1>
      <a:lt1>
        <a:srgbClr val="FFFFFF"/>
      </a:lt1>
      <a:dk2>
        <a:srgbClr val="C00000"/>
      </a:dk2>
      <a:lt2>
        <a:srgbClr val="FFFFFF"/>
      </a:lt2>
      <a:accent1>
        <a:srgbClr val="C00000"/>
      </a:accent1>
      <a:accent2>
        <a:srgbClr val="E34141"/>
      </a:accent2>
      <a:accent3>
        <a:srgbClr val="F17B79"/>
      </a:accent3>
      <a:accent4>
        <a:srgbClr val="B4B4B4"/>
      </a:accent4>
      <a:accent5>
        <a:srgbClr val="ED7D31"/>
      </a:accent5>
      <a:accent6>
        <a:srgbClr val="808080"/>
      </a:accent6>
      <a:hlink>
        <a:srgbClr val="F17B79"/>
      </a:hlink>
      <a:folHlink>
        <a:srgbClr val="B4B4B4"/>
      </a:folHlink>
    </a:clrScheme>
    <a:fontScheme name="Custom 3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C00000"/>
        </a:dk2>
        <a:lt2>
          <a:srgbClr val="FFFFFF"/>
        </a:lt2>
        <a:accent1>
          <a:srgbClr val="C00000"/>
        </a:accent1>
        <a:accent2>
          <a:srgbClr val="E34141"/>
        </a:accent2>
        <a:accent3>
          <a:srgbClr val="F17B79"/>
        </a:accent3>
        <a:accent4>
          <a:srgbClr val="B4B4B4"/>
        </a:accent4>
        <a:accent5>
          <a:srgbClr val="ED7D31"/>
        </a:accent5>
        <a:accent6>
          <a:srgbClr val="808080"/>
        </a:accent6>
        <a:hlink>
          <a:srgbClr val="F17B79"/>
        </a:hlink>
        <a:folHlink>
          <a:srgbClr val="B4B4B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lkomsel 2.potx" id="{EA303595-D07C-41F6-A236-B35359B44B59}" vid="{D47BBCE3-D1F8-4D9E-B40B-C10D526C2C9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66BA3CEB2E24840B840D3C6AEE99C25" ma:contentTypeVersion="21" ma:contentTypeDescription="Create a new document." ma:contentTypeScope="" ma:versionID="a2e025fe94a377e65fdada2a66375d52">
  <xsd:schema xmlns:xsd="http://www.w3.org/2001/XMLSchema" xmlns:xs="http://www.w3.org/2001/XMLSchema" xmlns:p="http://schemas.microsoft.com/office/2006/metadata/properties" xmlns:ns1="http://schemas.microsoft.com/sharepoint/v3" xmlns:ns2="10908082-f994-49e9-99ba-4011f91eac40" xmlns:ns3="e2a1df56-b936-4506-b99c-444eba174a10" targetNamespace="http://schemas.microsoft.com/office/2006/metadata/properties" ma:root="true" ma:fieldsID="3fb735a35118070fadc76b6cf5369d3c" ns1:_="" ns2:_="" ns3:_="">
    <xsd:import namespace="http://schemas.microsoft.com/sharepoint/v3"/>
    <xsd:import namespace="10908082-f994-49e9-99ba-4011f91eac40"/>
    <xsd:import namespace="e2a1df56-b936-4506-b99c-444eba174a1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1:_ip_UnifiedCompliancePolicyProperties" minOccurs="0"/>
                <xsd:element ref="ns1:_ip_UnifiedCompliancePolicyUIAction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  <xsd:element ref="ns2:Categorie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908082-f994-49e9-99ba-4011f91eac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d0229104-ef7a-423c-89ef-2a08041c189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5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Categories" ma:index="27" nillable="true" ma:displayName="Categories" ma:format="Dropdown" ma:internalName="Categories">
      <xsd:simpleType>
        <xsd:restriction base="dms:Choice">
          <xsd:enumeration value="Opportunity Assessment"/>
          <xsd:enumeration value="Delivery"/>
          <xsd:enumeration value="Operational"/>
          <xsd:enumeration value="Other"/>
          <xsd:enumeration value="Other Tech"/>
        </xsd:restriction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a1df56-b936-4506-b99c-444eba174a1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101c64a5-5f64-4070-9dfc-00ee2d088040}" ma:internalName="TaxCatchAll" ma:showField="CatchAllData" ma:web="e2a1df56-b936-4506-b99c-444eba174a1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DE65627-1B7E-4E1B-BF29-8993F5F7FA8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BDB85F3-DCAD-4BF3-A7AE-F655BF79B60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0908082-f994-49e9-99ba-4011f91eac40"/>
    <ds:schemaRef ds:uri="e2a1df56-b936-4506-b99c-444eba174a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71</TotalTime>
  <Words>348</Words>
  <Application>Microsoft Office PowerPoint</Application>
  <PresentationFormat>Widescreen</PresentationFormat>
  <Paragraphs>91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3" baseType="lpstr">
      <vt:lpstr>Arial</vt:lpstr>
      <vt:lpstr>Calibri</vt:lpstr>
      <vt:lpstr>Calibri Light</vt:lpstr>
      <vt:lpstr>Georgia</vt:lpstr>
      <vt:lpstr>Segoe UI</vt:lpstr>
      <vt:lpstr>Segoe UI Light</vt:lpstr>
      <vt:lpstr>Segoe UI Semibold</vt:lpstr>
      <vt:lpstr>Office Theme</vt:lpstr>
      <vt:lpstr>JK0726_CF</vt:lpstr>
      <vt:lpstr>think-cell Slid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rsakti_N_Rosandy</dc:creator>
  <cp:lastModifiedBy>Steven Tjayadi</cp:lastModifiedBy>
  <cp:revision>77</cp:revision>
  <dcterms:created xsi:type="dcterms:W3CDTF">2020-05-15T13:21:38Z</dcterms:created>
  <dcterms:modified xsi:type="dcterms:W3CDTF">2024-11-06T10:37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10-13T05:40:19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08d979c3-b2cd-4b14-85db-abb8b8a0a79a</vt:lpwstr>
  </property>
  <property fmtid="{D5CDD505-2E9C-101B-9397-08002B2CF9AE}" pid="8" name="MSIP_Label_ea60d57e-af5b-4752-ac57-3e4f28ca11dc_ContentBits">
    <vt:lpwstr>0</vt:lpwstr>
  </property>
  <property fmtid="{D5CDD505-2E9C-101B-9397-08002B2CF9AE}" pid="9" name="MSIP_Label_d5caaddc-90a0-4995-b524-c269e4395a58_Enabled">
    <vt:lpwstr>true</vt:lpwstr>
  </property>
  <property fmtid="{D5CDD505-2E9C-101B-9397-08002B2CF9AE}" pid="10" name="MSIP_Label_d5caaddc-90a0-4995-b524-c269e4395a58_SetDate">
    <vt:lpwstr>2024-09-25T02:17:56Z</vt:lpwstr>
  </property>
  <property fmtid="{D5CDD505-2E9C-101B-9397-08002B2CF9AE}" pid="11" name="MSIP_Label_d5caaddc-90a0-4995-b524-c269e4395a58_Method">
    <vt:lpwstr>Standard</vt:lpwstr>
  </property>
  <property fmtid="{D5CDD505-2E9C-101B-9397-08002B2CF9AE}" pid="12" name="MSIP_Label_d5caaddc-90a0-4995-b524-c269e4395a58_Name">
    <vt:lpwstr>Internal</vt:lpwstr>
  </property>
  <property fmtid="{D5CDD505-2E9C-101B-9397-08002B2CF9AE}" pid="13" name="MSIP_Label_d5caaddc-90a0-4995-b524-c269e4395a58_SiteId">
    <vt:lpwstr>fc743075-93ed-4a5c-82c0-ca5eac914220</vt:lpwstr>
  </property>
  <property fmtid="{D5CDD505-2E9C-101B-9397-08002B2CF9AE}" pid="14" name="MSIP_Label_d5caaddc-90a0-4995-b524-c269e4395a58_ActionId">
    <vt:lpwstr>98c5773e-5eeb-4590-9802-a506b4bdbe3b</vt:lpwstr>
  </property>
  <property fmtid="{D5CDD505-2E9C-101B-9397-08002B2CF9AE}" pid="15" name="MSIP_Label_d5caaddc-90a0-4995-b524-c269e4395a58_ContentBits">
    <vt:lpwstr>2</vt:lpwstr>
  </property>
  <property fmtid="{D5CDD505-2E9C-101B-9397-08002B2CF9AE}" pid="16" name="ClassificationContentMarkingFooterLocations">
    <vt:lpwstr>Office Theme:10\JK0726_CF:5</vt:lpwstr>
  </property>
  <property fmtid="{D5CDD505-2E9C-101B-9397-08002B2CF9AE}" pid="17" name="ClassificationContentMarkingFooterText">
    <vt:lpwstr>Internal</vt:lpwstr>
  </property>
</Properties>
</file>